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8" r:id="rId2"/>
  </p:sldIdLst>
  <p:sldSz cx="10693400" cy="7556500"/>
  <p:notesSz cx="6858000" cy="9144000"/>
  <p:embeddedFontLst>
    <p:embeddedFont>
      <p:font typeface="Open Sauce Sans Medium" panose="00000600000000000000" pitchFamily="2" charset="0"/>
      <p:regular r:id="rId3"/>
    </p:embeddedFont>
    <p:embeddedFont>
      <p:font typeface="Playfair Display" pitchFamily="2" charset="0"/>
      <p:regular r:id="rId4"/>
      <p:bold r:id="rId5"/>
      <p:italic r:id="rId6"/>
      <p:boldItalic r:id="rId7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B36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>
        <p:scale>
          <a:sx n="66" d="100"/>
          <a:sy n="66" d="100"/>
        </p:scale>
        <p:origin x="1950" y="7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ableStyles" Target="tableStyles.xml"/><Relationship Id="rId5" Type="http://schemas.openxmlformats.org/officeDocument/2006/relationships/font" Target="fonts/font3.fntdata"/><Relationship Id="rId10" Type="http://schemas.openxmlformats.org/officeDocument/2006/relationships/theme" Target="theme/theme1.xml"/><Relationship Id="rId4" Type="http://schemas.openxmlformats.org/officeDocument/2006/relationships/font" Target="fonts/font2.fntdata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16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5">
            <a:extLst>
              <a:ext uri="{FF2B5EF4-FFF2-40B4-BE49-F238E27FC236}">
                <a16:creationId xmlns:a16="http://schemas.microsoft.com/office/drawing/2014/main" id="{4E5E7C49-9134-4909-307D-0E77EBECAA0B}"/>
              </a:ext>
            </a:extLst>
          </p:cNvPr>
          <p:cNvGrpSpPr/>
          <p:nvPr/>
        </p:nvGrpSpPr>
        <p:grpSpPr>
          <a:xfrm>
            <a:off x="-1761368" y="-1805818"/>
            <a:ext cx="14216136" cy="11168136"/>
            <a:chOff x="-1761368" y="-1805818"/>
            <a:chExt cx="14216136" cy="11168136"/>
          </a:xfrm>
        </p:grpSpPr>
        <p:grpSp>
          <p:nvGrpSpPr>
            <p:cNvPr id="171" name="Group 170">
              <a:extLst>
                <a:ext uri="{FF2B5EF4-FFF2-40B4-BE49-F238E27FC236}">
                  <a16:creationId xmlns:a16="http://schemas.microsoft.com/office/drawing/2014/main" id="{C159457D-3822-CC00-CE7E-2E62E65D9DEF}"/>
                </a:ext>
              </a:extLst>
            </p:cNvPr>
            <p:cNvGrpSpPr/>
            <p:nvPr/>
          </p:nvGrpSpPr>
          <p:grpSpPr>
            <a:xfrm>
              <a:off x="754686" y="468028"/>
              <a:ext cx="9184028" cy="6335972"/>
              <a:chOff x="754686" y="468028"/>
              <a:chExt cx="9184028" cy="6335972"/>
            </a:xfrm>
          </p:grpSpPr>
          <p:grpSp>
            <p:nvGrpSpPr>
              <p:cNvPr id="170" name="Group 169">
                <a:extLst>
                  <a:ext uri="{FF2B5EF4-FFF2-40B4-BE49-F238E27FC236}">
                    <a16:creationId xmlns:a16="http://schemas.microsoft.com/office/drawing/2014/main" id="{6741F9AA-A1E3-FCEB-9577-9AA3132A2B81}"/>
                  </a:ext>
                </a:extLst>
              </p:cNvPr>
              <p:cNvGrpSpPr/>
              <p:nvPr/>
            </p:nvGrpSpPr>
            <p:grpSpPr>
              <a:xfrm>
                <a:off x="754686" y="5249335"/>
                <a:ext cx="9181400" cy="1554665"/>
                <a:chOff x="754686" y="5249335"/>
                <a:chExt cx="9181400" cy="1554665"/>
              </a:xfrm>
            </p:grpSpPr>
            <p:sp>
              <p:nvSpPr>
                <p:cNvPr id="138" name="Rectangle 137">
                  <a:extLst>
                    <a:ext uri="{FF2B5EF4-FFF2-40B4-BE49-F238E27FC236}">
                      <a16:creationId xmlns:a16="http://schemas.microsoft.com/office/drawing/2014/main" id="{25A9B644-ACC0-B588-57DB-95C9161A3FAD}"/>
                    </a:ext>
                  </a:extLst>
                </p:cNvPr>
                <p:cNvSpPr/>
                <p:nvPr/>
              </p:nvSpPr>
              <p:spPr>
                <a:xfrm>
                  <a:off x="763476" y="5249335"/>
                  <a:ext cx="9172610" cy="1554665"/>
                </a:xfrm>
                <a:prstGeom prst="rect">
                  <a:avLst/>
                </a:prstGeom>
                <a:solidFill>
                  <a:srgbClr val="000000"/>
                </a:solidFill>
                <a:ln w="3175">
                  <a:solidFill>
                    <a:srgbClr val="EFB369"/>
                  </a:solidFill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9" name="AutoShape 9"/>
                <p:cNvSpPr/>
                <p:nvPr/>
              </p:nvSpPr>
              <p:spPr>
                <a:xfrm>
                  <a:off x="754686" y="5734417"/>
                  <a:ext cx="9172610" cy="0"/>
                </a:xfrm>
                <a:prstGeom prst="line">
                  <a:avLst/>
                </a:prstGeom>
                <a:ln w="9525" cap="flat">
                  <a:solidFill>
                    <a:srgbClr val="FFB157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36" name="Group 135">
                  <a:extLst>
                    <a:ext uri="{FF2B5EF4-FFF2-40B4-BE49-F238E27FC236}">
                      <a16:creationId xmlns:a16="http://schemas.microsoft.com/office/drawing/2014/main" id="{5504C689-17BB-2FEB-BB54-E115C3088C81}"/>
                    </a:ext>
                  </a:extLst>
                </p:cNvPr>
                <p:cNvGrpSpPr/>
                <p:nvPr/>
              </p:nvGrpSpPr>
              <p:grpSpPr>
                <a:xfrm>
                  <a:off x="4244959" y="5403807"/>
                  <a:ext cx="2203481" cy="176138"/>
                  <a:chOff x="4240968" y="5395160"/>
                  <a:chExt cx="2203481" cy="176138"/>
                </a:xfrm>
              </p:grpSpPr>
              <p:sp>
                <p:nvSpPr>
                  <p:cNvPr id="11" name="Freeform 11"/>
                  <p:cNvSpPr/>
                  <p:nvPr/>
                </p:nvSpPr>
                <p:spPr>
                  <a:xfrm>
                    <a:off x="4240968" y="5438648"/>
                    <a:ext cx="89161" cy="891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9161" h="89161">
                        <a:moveTo>
                          <a:pt x="0" y="0"/>
                        </a:moveTo>
                        <a:lnTo>
                          <a:pt x="89161" y="0"/>
                        </a:lnTo>
                        <a:lnTo>
                          <a:pt x="89161" y="89161"/>
                        </a:lnTo>
                        <a:lnTo>
                          <a:pt x="0" y="8916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2" name="Freeform 12"/>
                  <p:cNvSpPr/>
                  <p:nvPr/>
                </p:nvSpPr>
                <p:spPr>
                  <a:xfrm>
                    <a:off x="6355288" y="5438648"/>
                    <a:ext cx="89161" cy="8916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9161" h="89161">
                        <a:moveTo>
                          <a:pt x="0" y="0"/>
                        </a:moveTo>
                        <a:lnTo>
                          <a:pt x="89161" y="0"/>
                        </a:lnTo>
                        <a:lnTo>
                          <a:pt x="89161" y="89161"/>
                        </a:lnTo>
                        <a:lnTo>
                          <a:pt x="0" y="8916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3" name="TextBox 13"/>
                  <p:cNvSpPr txBox="1"/>
                  <p:nvPr/>
                </p:nvSpPr>
                <p:spPr>
                  <a:xfrm>
                    <a:off x="4374580" y="5395160"/>
                    <a:ext cx="1936256" cy="176138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 algn="ctr">
                      <a:lnSpc>
                        <a:spcPts val="1512"/>
                      </a:lnSpc>
                      <a:spcBef>
                        <a:spcPct val="0"/>
                      </a:spcBef>
                    </a:pPr>
                    <a:r>
                      <a:rPr lang="en-US" sz="1100" dirty="0">
                        <a:solidFill>
                          <a:srgbClr val="EFB369"/>
                        </a:solidFill>
                        <a:latin typeface="Playfair Display"/>
                      </a:rPr>
                      <a:t>INSTRUCTIONS FOR VOTERS</a:t>
                    </a:r>
                  </a:p>
                </p:txBody>
              </p:sp>
            </p:grpSp>
            <p:grpSp>
              <p:nvGrpSpPr>
                <p:cNvPr id="102" name="Group 101">
                  <a:extLst>
                    <a:ext uri="{FF2B5EF4-FFF2-40B4-BE49-F238E27FC236}">
                      <a16:creationId xmlns:a16="http://schemas.microsoft.com/office/drawing/2014/main" id="{423CAFEA-CCA8-43E8-A157-7C53023D9F65}"/>
                    </a:ext>
                  </a:extLst>
                </p:cNvPr>
                <p:cNvGrpSpPr/>
                <p:nvPr/>
              </p:nvGrpSpPr>
              <p:grpSpPr>
                <a:xfrm>
                  <a:off x="1239823" y="5964997"/>
                  <a:ext cx="8222545" cy="608423"/>
                  <a:chOff x="1238847" y="5942874"/>
                  <a:chExt cx="8222545" cy="608423"/>
                </a:xfrm>
              </p:grpSpPr>
              <p:sp>
                <p:nvSpPr>
                  <p:cNvPr id="6" name="AutoShape 6"/>
                  <p:cNvSpPr/>
                  <p:nvPr/>
                </p:nvSpPr>
                <p:spPr>
                  <a:xfrm>
                    <a:off x="6118012" y="6247085"/>
                    <a:ext cx="472394" cy="0"/>
                  </a:xfrm>
                  <a:prstGeom prst="line">
                    <a:avLst/>
                  </a:prstGeom>
                  <a:ln w="9525" cap="flat">
                    <a:solidFill>
                      <a:srgbClr val="EFB369"/>
                    </a:solidFill>
                    <a:prstDash val="solid"/>
                    <a:headEnd type="none" w="sm" len="sm"/>
                    <a:tailEnd type="arrow" w="med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" name="AutoShape 7"/>
                  <p:cNvSpPr/>
                  <p:nvPr/>
                </p:nvSpPr>
                <p:spPr>
                  <a:xfrm>
                    <a:off x="2724757" y="6247085"/>
                    <a:ext cx="472394" cy="0"/>
                  </a:xfrm>
                  <a:prstGeom prst="line">
                    <a:avLst/>
                  </a:prstGeom>
                  <a:ln w="9525" cap="flat">
                    <a:solidFill>
                      <a:srgbClr val="EFB369"/>
                    </a:solidFill>
                    <a:prstDash val="solid"/>
                    <a:headEnd type="none" w="sm" len="sm"/>
                    <a:tailEnd type="arrow" w="med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" name="Freeform 14"/>
                  <p:cNvSpPr/>
                  <p:nvPr/>
                </p:nvSpPr>
                <p:spPr>
                  <a:xfrm>
                    <a:off x="1238847" y="5942874"/>
                    <a:ext cx="608423" cy="60842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608423" h="608423">
                        <a:moveTo>
                          <a:pt x="0" y="0"/>
                        </a:moveTo>
                        <a:lnTo>
                          <a:pt x="608423" y="0"/>
                        </a:lnTo>
                        <a:lnTo>
                          <a:pt x="608423" y="608423"/>
                        </a:lnTo>
                        <a:lnTo>
                          <a:pt x="0" y="608423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5" name="Freeform 15"/>
                  <p:cNvSpPr/>
                  <p:nvPr/>
                </p:nvSpPr>
                <p:spPr>
                  <a:xfrm>
                    <a:off x="1751149" y="5978138"/>
                    <a:ext cx="537895" cy="53789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537895" h="537895">
                        <a:moveTo>
                          <a:pt x="0" y="0"/>
                        </a:moveTo>
                        <a:lnTo>
                          <a:pt x="537895" y="0"/>
                        </a:lnTo>
                        <a:lnTo>
                          <a:pt x="537895" y="537895"/>
                        </a:lnTo>
                        <a:lnTo>
                          <a:pt x="0" y="5378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6" name="TextBox 16"/>
                  <p:cNvSpPr txBox="1"/>
                  <p:nvPr/>
                </p:nvSpPr>
                <p:spPr>
                  <a:xfrm>
                    <a:off x="3632863" y="6107491"/>
                    <a:ext cx="2049436" cy="279189"/>
                  </a:xfrm>
                  <a:prstGeom prst="rect">
                    <a:avLst/>
                  </a:prstGeom>
                </p:spPr>
                <p:txBody>
                  <a:bodyPr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120"/>
                      </a:lnSpc>
                    </a:pPr>
                    <a:r>
                      <a:rPr lang="en-US" sz="800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Mark with a "</a:t>
                    </a:r>
                    <a:r>
                      <a:rPr lang="en-US" sz="800" b="1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V</a:t>
                    </a:r>
                    <a:r>
                      <a:rPr lang="en-US" sz="800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" or "</a:t>
                    </a:r>
                    <a:r>
                      <a:rPr lang="en-US" sz="800" b="1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X</a:t>
                    </a:r>
                    <a:r>
                      <a:rPr lang="en-US" sz="800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" or color in the box next to your choice for each category</a:t>
                    </a:r>
                  </a:p>
                </p:txBody>
              </p:sp>
              <p:sp>
                <p:nvSpPr>
                  <p:cNvPr id="17" name="TextBox 17"/>
                  <p:cNvSpPr txBox="1"/>
                  <p:nvPr/>
                </p:nvSpPr>
                <p:spPr>
                  <a:xfrm>
                    <a:off x="7026118" y="6107491"/>
                    <a:ext cx="2435274" cy="270459"/>
                  </a:xfrm>
                  <a:prstGeom prst="rect">
                    <a:avLst/>
                  </a:prstGeom>
                </p:spPr>
                <p:txBody>
                  <a:bodyPr wrap="square" lIns="0" tIns="0" rIns="0" bIns="0" rtlCol="0" anchor="t">
                    <a:spAutoFit/>
                  </a:bodyPr>
                  <a:lstStyle/>
                  <a:p>
                    <a:pPr>
                      <a:lnSpc>
                        <a:spcPts val="1120"/>
                      </a:lnSpc>
                    </a:pPr>
                    <a:r>
                      <a:rPr lang="en-US" sz="800" dirty="0">
                        <a:solidFill>
                          <a:srgbClr val="EFB369"/>
                        </a:solidFill>
                        <a:latin typeface="Open Sauce Sans Medium" panose="00000600000000000000" pitchFamily="2" charset="0"/>
                      </a:rPr>
                      <a:t>Please mark your choices clearly. Thank you for participating in making our prom memorable!</a:t>
                    </a:r>
                  </a:p>
                </p:txBody>
              </p:sp>
            </p:grpSp>
          </p:grpSp>
          <p:grpSp>
            <p:nvGrpSpPr>
              <p:cNvPr id="164" name="Group 163">
                <a:extLst>
                  <a:ext uri="{FF2B5EF4-FFF2-40B4-BE49-F238E27FC236}">
                    <a16:creationId xmlns:a16="http://schemas.microsoft.com/office/drawing/2014/main" id="{6159B278-0EB8-D281-9242-44A55FE1BDD3}"/>
                  </a:ext>
                </a:extLst>
              </p:cNvPr>
              <p:cNvGrpSpPr/>
              <p:nvPr/>
            </p:nvGrpSpPr>
            <p:grpSpPr>
              <a:xfrm>
                <a:off x="763476" y="1503163"/>
                <a:ext cx="9175238" cy="3412091"/>
                <a:chOff x="759081" y="1503163"/>
                <a:chExt cx="9175238" cy="3412091"/>
              </a:xfrm>
            </p:grpSpPr>
            <p:grpSp>
              <p:nvGrpSpPr>
                <p:cNvPr id="21" name="Group 20">
                  <a:extLst>
                    <a:ext uri="{FF2B5EF4-FFF2-40B4-BE49-F238E27FC236}">
                      <a16:creationId xmlns:a16="http://schemas.microsoft.com/office/drawing/2014/main" id="{58BF75B9-8410-C70D-3881-404DC853C749}"/>
                    </a:ext>
                  </a:extLst>
                </p:cNvPr>
                <p:cNvGrpSpPr/>
                <p:nvPr/>
              </p:nvGrpSpPr>
              <p:grpSpPr>
                <a:xfrm>
                  <a:off x="759081" y="1503163"/>
                  <a:ext cx="2835692" cy="3412091"/>
                  <a:chOff x="750292" y="1503163"/>
                  <a:chExt cx="2835692" cy="3412091"/>
                </a:xfrm>
              </p:grpSpPr>
              <p:sp>
                <p:nvSpPr>
                  <p:cNvPr id="104" name="Rectangle 103">
                    <a:extLst>
                      <a:ext uri="{FF2B5EF4-FFF2-40B4-BE49-F238E27FC236}">
                        <a16:creationId xmlns:a16="http://schemas.microsoft.com/office/drawing/2014/main" id="{50C6661D-754F-F90C-1B80-7385C9EFD9B7}"/>
                      </a:ext>
                    </a:extLst>
                  </p:cNvPr>
                  <p:cNvSpPr/>
                  <p:nvPr/>
                </p:nvSpPr>
                <p:spPr>
                  <a:xfrm>
                    <a:off x="750292" y="1503163"/>
                    <a:ext cx="2835692" cy="3412091"/>
                  </a:xfrm>
                  <a:prstGeom prst="rect">
                    <a:avLst/>
                  </a:prstGeom>
                  <a:solidFill>
                    <a:srgbClr val="000000"/>
                  </a:solidFill>
                  <a:ln w="3175">
                    <a:solidFill>
                      <a:srgbClr val="EFB36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20" name="AutoShape 20"/>
                  <p:cNvSpPr/>
                  <p:nvPr/>
                </p:nvSpPr>
                <p:spPr>
                  <a:xfrm>
                    <a:off x="750292" y="1963821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FFB157">
                        <a:alpha val="49804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2" name="AutoShape 22"/>
                  <p:cNvSpPr/>
                  <p:nvPr/>
                </p:nvSpPr>
                <p:spPr>
                  <a:xfrm>
                    <a:off x="750292" y="3963814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EFB369"/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24" name="Freeform 24"/>
                  <p:cNvSpPr/>
                  <p:nvPr/>
                </p:nvSpPr>
                <p:spPr>
                  <a:xfrm>
                    <a:off x="1217266" y="2257558"/>
                    <a:ext cx="1901743" cy="13070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1743" h="1307016">
                        <a:moveTo>
                          <a:pt x="0" y="0"/>
                        </a:moveTo>
                        <a:lnTo>
                          <a:pt x="1901743" y="0"/>
                        </a:lnTo>
                        <a:lnTo>
                          <a:pt x="1901743" y="1307017"/>
                        </a:lnTo>
                        <a:lnTo>
                          <a:pt x="0" y="13070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7">
                      <a:extLst>
                        <a:ext uri="{96DAC541-7B7A-43D3-8B79-37D633B846F1}">
                          <asvg:svgBlip xmlns:asvg="http://schemas.microsoft.com/office/drawing/2016/SVG/main" r:embed="rId8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grpSp>
                <p:nvGrpSpPr>
                  <p:cNvPr id="2" name="Group 1">
                    <a:extLst>
                      <a:ext uri="{FF2B5EF4-FFF2-40B4-BE49-F238E27FC236}">
                        <a16:creationId xmlns:a16="http://schemas.microsoft.com/office/drawing/2014/main" id="{52FFAA3C-FACD-5E54-7CC9-B80869C5EFE0}"/>
                      </a:ext>
                    </a:extLst>
                  </p:cNvPr>
                  <p:cNvGrpSpPr/>
                  <p:nvPr/>
                </p:nvGrpSpPr>
                <p:grpSpPr>
                  <a:xfrm>
                    <a:off x="1238924" y="1637924"/>
                    <a:ext cx="1858428" cy="191135"/>
                    <a:chOff x="1244634" y="1639336"/>
                    <a:chExt cx="1858428" cy="191135"/>
                  </a:xfrm>
                </p:grpSpPr>
                <p:sp>
                  <p:nvSpPr>
                    <p:cNvPr id="25" name="Freeform 25"/>
                    <p:cNvSpPr/>
                    <p:nvPr/>
                  </p:nvSpPr>
                  <p:spPr>
                    <a:xfrm>
                      <a:off x="1244634" y="1683209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6" name="Freeform 26"/>
                    <p:cNvSpPr/>
                    <p:nvPr/>
                  </p:nvSpPr>
                  <p:spPr>
                    <a:xfrm>
                      <a:off x="2999673" y="1683209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" name="TextBox 27"/>
                    <p:cNvSpPr txBox="1"/>
                    <p:nvPr/>
                  </p:nvSpPr>
                  <p:spPr>
                    <a:xfrm>
                      <a:off x="1384757" y="1639336"/>
                      <a:ext cx="1578181" cy="1911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540"/>
                        </a:lnSpc>
                        <a:spcBef>
                          <a:spcPct val="0"/>
                        </a:spcBef>
                      </a:pPr>
                      <a:r>
                        <a:rPr lang="en-US" sz="1100" dirty="0">
                          <a:solidFill>
                            <a:srgbClr val="EFB369"/>
                          </a:solidFill>
                          <a:latin typeface="Playfair Display"/>
                        </a:rPr>
                        <a:t>PROM KING NOMINEES</a:t>
                      </a:r>
                    </a:p>
                  </p:txBody>
                </p:sp>
              </p:grpSp>
              <p:grpSp>
                <p:nvGrpSpPr>
                  <p:cNvPr id="18" name="Group 17">
                    <a:extLst>
                      <a:ext uri="{FF2B5EF4-FFF2-40B4-BE49-F238E27FC236}">
                        <a16:creationId xmlns:a16="http://schemas.microsoft.com/office/drawing/2014/main" id="{AE1DBA1D-9B4B-803D-4BB0-B79DDA3C65E5}"/>
                      </a:ext>
                    </a:extLst>
                  </p:cNvPr>
                  <p:cNvGrpSpPr/>
                  <p:nvPr/>
                </p:nvGrpSpPr>
                <p:grpSpPr>
                  <a:xfrm>
                    <a:off x="951366" y="4221028"/>
                    <a:ext cx="2433544" cy="437013"/>
                    <a:chOff x="931956" y="4217730"/>
                    <a:chExt cx="2433544" cy="437013"/>
                  </a:xfrm>
                </p:grpSpPr>
                <p:sp>
                  <p:nvSpPr>
                    <p:cNvPr id="54" name="Freeform 54"/>
                    <p:cNvSpPr/>
                    <p:nvPr/>
                  </p:nvSpPr>
                  <p:spPr>
                    <a:xfrm>
                      <a:off x="2249342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51" name="Freeform 51"/>
                    <p:cNvSpPr/>
                    <p:nvPr/>
                  </p:nvSpPr>
                  <p:spPr>
                    <a:xfrm>
                      <a:off x="931956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2" name="TextBox 62"/>
                    <p:cNvSpPr txBox="1"/>
                    <p:nvPr/>
                  </p:nvSpPr>
                  <p:spPr>
                    <a:xfrm>
                      <a:off x="1100705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John Smith</a:t>
                      </a:r>
                    </a:p>
                  </p:txBody>
                </p:sp>
                <p:sp>
                  <p:nvSpPr>
                    <p:cNvPr id="63" name="TextBox 63"/>
                    <p:cNvSpPr txBox="1"/>
                    <p:nvPr/>
                  </p:nvSpPr>
                  <p:spPr>
                    <a:xfrm>
                      <a:off x="2438489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David Lee</a:t>
                      </a:r>
                    </a:p>
                  </p:txBody>
                </p:sp>
                <p:sp>
                  <p:nvSpPr>
                    <p:cNvPr id="57" name="Freeform 57"/>
                    <p:cNvSpPr/>
                    <p:nvPr/>
                  </p:nvSpPr>
                  <p:spPr>
                    <a:xfrm>
                      <a:off x="931956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0" name="Freeform 60"/>
                    <p:cNvSpPr/>
                    <p:nvPr/>
                  </p:nvSpPr>
                  <p:spPr>
                    <a:xfrm>
                      <a:off x="2249342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4" name="TextBox 64"/>
                    <p:cNvSpPr txBox="1"/>
                    <p:nvPr/>
                  </p:nvSpPr>
                  <p:spPr>
                    <a:xfrm>
                      <a:off x="1100705" y="4491108"/>
                      <a:ext cx="965831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Michael Johnson</a:t>
                      </a:r>
                    </a:p>
                  </p:txBody>
                </p:sp>
                <p:sp>
                  <p:nvSpPr>
                    <p:cNvPr id="65" name="TextBox 65"/>
                    <p:cNvSpPr txBox="1"/>
                    <p:nvPr/>
                  </p:nvSpPr>
                  <p:spPr>
                    <a:xfrm>
                      <a:off x="2438489" y="4491108"/>
                      <a:ext cx="927011" cy="163635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Brian Thompson</a:t>
                      </a:r>
                    </a:p>
                  </p:txBody>
                </p:sp>
              </p:grpSp>
            </p:grpSp>
            <p:grpSp>
              <p:nvGrpSpPr>
                <p:cNvPr id="163" name="Group 162">
                  <a:extLst>
                    <a:ext uri="{FF2B5EF4-FFF2-40B4-BE49-F238E27FC236}">
                      <a16:creationId xmlns:a16="http://schemas.microsoft.com/office/drawing/2014/main" id="{BE0E46AF-119D-D724-D151-F1368E67A7F6}"/>
                    </a:ext>
                  </a:extLst>
                </p:cNvPr>
                <p:cNvGrpSpPr/>
                <p:nvPr/>
              </p:nvGrpSpPr>
              <p:grpSpPr>
                <a:xfrm>
                  <a:off x="3928854" y="1503163"/>
                  <a:ext cx="2835692" cy="3412091"/>
                  <a:chOff x="3928854" y="1503163"/>
                  <a:chExt cx="2835692" cy="3412091"/>
                </a:xfrm>
              </p:grpSpPr>
              <p:sp>
                <p:nvSpPr>
                  <p:cNvPr id="53" name="Rectangle 52">
                    <a:extLst>
                      <a:ext uri="{FF2B5EF4-FFF2-40B4-BE49-F238E27FC236}">
                        <a16:creationId xmlns:a16="http://schemas.microsoft.com/office/drawing/2014/main" id="{781875DF-78F4-DE9C-ED3F-8EB3576E3B01}"/>
                      </a:ext>
                    </a:extLst>
                  </p:cNvPr>
                  <p:cNvSpPr/>
                  <p:nvPr/>
                </p:nvSpPr>
                <p:spPr>
                  <a:xfrm>
                    <a:off x="3928854" y="1503163"/>
                    <a:ext cx="2835692" cy="3412091"/>
                  </a:xfrm>
                  <a:prstGeom prst="rect">
                    <a:avLst/>
                  </a:prstGeom>
                  <a:solidFill>
                    <a:srgbClr val="000000"/>
                  </a:solidFill>
                  <a:ln w="3175">
                    <a:solidFill>
                      <a:srgbClr val="EFB36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59" name="AutoShape 20">
                    <a:extLst>
                      <a:ext uri="{FF2B5EF4-FFF2-40B4-BE49-F238E27FC236}">
                        <a16:creationId xmlns:a16="http://schemas.microsoft.com/office/drawing/2014/main" id="{9ECAD7FA-F43C-D62A-43FE-D61993007172}"/>
                      </a:ext>
                    </a:extLst>
                  </p:cNvPr>
                  <p:cNvSpPr/>
                  <p:nvPr/>
                </p:nvSpPr>
                <p:spPr>
                  <a:xfrm>
                    <a:off x="3928854" y="1963821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FFB157">
                        <a:alpha val="49804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66" name="AutoShape 22">
                    <a:extLst>
                      <a:ext uri="{FF2B5EF4-FFF2-40B4-BE49-F238E27FC236}">
                        <a16:creationId xmlns:a16="http://schemas.microsoft.com/office/drawing/2014/main" id="{AF00C886-D6D8-6760-81A0-EC967C9CAF7D}"/>
                      </a:ext>
                    </a:extLst>
                  </p:cNvPr>
                  <p:cNvSpPr/>
                  <p:nvPr/>
                </p:nvSpPr>
                <p:spPr>
                  <a:xfrm>
                    <a:off x="3928854" y="3963814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EFB369"/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75" name="Freeform 24">
                    <a:extLst>
                      <a:ext uri="{FF2B5EF4-FFF2-40B4-BE49-F238E27FC236}">
                        <a16:creationId xmlns:a16="http://schemas.microsoft.com/office/drawing/2014/main" id="{EDC0F0C4-3475-2096-473D-C0442AF3BC27}"/>
                      </a:ext>
                    </a:extLst>
                  </p:cNvPr>
                  <p:cNvSpPr/>
                  <p:nvPr/>
                </p:nvSpPr>
                <p:spPr>
                  <a:xfrm>
                    <a:off x="4395828" y="2257558"/>
                    <a:ext cx="1901743" cy="13070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1743" h="1307016">
                        <a:moveTo>
                          <a:pt x="0" y="0"/>
                        </a:moveTo>
                        <a:lnTo>
                          <a:pt x="1901743" y="0"/>
                        </a:lnTo>
                        <a:lnTo>
                          <a:pt x="1901743" y="1307017"/>
                        </a:lnTo>
                        <a:lnTo>
                          <a:pt x="0" y="13070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7">
                      <a:extLst>
                        <a:ext uri="{96DAC541-7B7A-43D3-8B79-37D633B846F1}">
                          <asvg:svgBlip xmlns:asvg="http://schemas.microsoft.com/office/drawing/2016/SVG/main" r:embed="rId8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grpSp>
                <p:nvGrpSpPr>
                  <p:cNvPr id="135" name="Group 134">
                    <a:extLst>
                      <a:ext uri="{FF2B5EF4-FFF2-40B4-BE49-F238E27FC236}">
                        <a16:creationId xmlns:a16="http://schemas.microsoft.com/office/drawing/2014/main" id="{8D1B9045-BBB0-FE34-5F84-85F15CFBB950}"/>
                      </a:ext>
                    </a:extLst>
                  </p:cNvPr>
                  <p:cNvGrpSpPr/>
                  <p:nvPr/>
                </p:nvGrpSpPr>
                <p:grpSpPr>
                  <a:xfrm>
                    <a:off x="4356311" y="1637924"/>
                    <a:ext cx="1980778" cy="176138"/>
                    <a:chOff x="4351817" y="1637924"/>
                    <a:chExt cx="1980778" cy="176138"/>
                  </a:xfrm>
                </p:grpSpPr>
                <p:sp>
                  <p:nvSpPr>
                    <p:cNvPr id="111" name="Freeform 25">
                      <a:extLst>
                        <a:ext uri="{FF2B5EF4-FFF2-40B4-BE49-F238E27FC236}">
                          <a16:creationId xmlns:a16="http://schemas.microsoft.com/office/drawing/2014/main" id="{9771F89D-EEBA-F4D2-8882-3A3CF27800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351817" y="1681797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2" name="Freeform 26">
                      <a:extLst>
                        <a:ext uri="{FF2B5EF4-FFF2-40B4-BE49-F238E27FC236}">
                          <a16:creationId xmlns:a16="http://schemas.microsoft.com/office/drawing/2014/main" id="{F61A1436-BA5D-E8E4-9172-E38E84AD5B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229206" y="1681797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13" name="TextBox 27">
                      <a:extLst>
                        <a:ext uri="{FF2B5EF4-FFF2-40B4-BE49-F238E27FC236}">
                          <a16:creationId xmlns:a16="http://schemas.microsoft.com/office/drawing/2014/main" id="{F8233180-B46D-CAB7-6193-CA4F59972E1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469080" y="1637924"/>
                      <a:ext cx="1746252" cy="176138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540"/>
                        </a:lnSpc>
                        <a:spcBef>
                          <a:spcPct val="0"/>
                        </a:spcBef>
                      </a:pPr>
                      <a:r>
                        <a:rPr lang="en-US" sz="1100" dirty="0">
                          <a:solidFill>
                            <a:srgbClr val="EFB369"/>
                          </a:solidFill>
                          <a:latin typeface="Playfair Display"/>
                        </a:rPr>
                        <a:t>PROM QUEEN NOMINEES</a:t>
                      </a:r>
                    </a:p>
                  </p:txBody>
                </p:sp>
              </p:grpSp>
              <p:grpSp>
                <p:nvGrpSpPr>
                  <p:cNvPr id="85" name="Group 84">
                    <a:extLst>
                      <a:ext uri="{FF2B5EF4-FFF2-40B4-BE49-F238E27FC236}">
                        <a16:creationId xmlns:a16="http://schemas.microsoft.com/office/drawing/2014/main" id="{CE8DB8C9-F753-A2FF-4D72-CF29CAF3F553}"/>
                      </a:ext>
                    </a:extLst>
                  </p:cNvPr>
                  <p:cNvGrpSpPr/>
                  <p:nvPr/>
                </p:nvGrpSpPr>
                <p:grpSpPr>
                  <a:xfrm>
                    <a:off x="4129928" y="4221028"/>
                    <a:ext cx="2433544" cy="437013"/>
                    <a:chOff x="931956" y="4217730"/>
                    <a:chExt cx="2433544" cy="437013"/>
                  </a:xfrm>
                </p:grpSpPr>
                <p:sp>
                  <p:nvSpPr>
                    <p:cNvPr id="97" name="Freeform 54">
                      <a:extLst>
                        <a:ext uri="{FF2B5EF4-FFF2-40B4-BE49-F238E27FC236}">
                          <a16:creationId xmlns:a16="http://schemas.microsoft.com/office/drawing/2014/main" id="{3D1F3BE6-00DE-3D5C-4930-DAA6F18F68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49342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98" name="Freeform 51">
                      <a:extLst>
                        <a:ext uri="{FF2B5EF4-FFF2-40B4-BE49-F238E27FC236}">
                          <a16:creationId xmlns:a16="http://schemas.microsoft.com/office/drawing/2014/main" id="{C34CAD51-651B-BDB6-D444-A40B1EBF4B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1956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5" name="TextBox 62">
                      <a:extLst>
                        <a:ext uri="{FF2B5EF4-FFF2-40B4-BE49-F238E27FC236}">
                          <a16:creationId xmlns:a16="http://schemas.microsoft.com/office/drawing/2014/main" id="{7CADECF8-9A0A-D8D5-713E-729DFA918475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00705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Sarah Adams</a:t>
                      </a:r>
                    </a:p>
                  </p:txBody>
                </p:sp>
                <p:sp>
                  <p:nvSpPr>
                    <p:cNvPr id="106" name="TextBox 63">
                      <a:extLst>
                        <a:ext uri="{FF2B5EF4-FFF2-40B4-BE49-F238E27FC236}">
                          <a16:creationId xmlns:a16="http://schemas.microsoft.com/office/drawing/2014/main" id="{880FDEFF-6528-5F4A-883E-22E54024C46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438489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Jessica White</a:t>
                      </a:r>
                    </a:p>
                  </p:txBody>
                </p:sp>
                <p:sp>
                  <p:nvSpPr>
                    <p:cNvPr id="107" name="Freeform 57">
                      <a:extLst>
                        <a:ext uri="{FF2B5EF4-FFF2-40B4-BE49-F238E27FC236}">
                          <a16:creationId xmlns:a16="http://schemas.microsoft.com/office/drawing/2014/main" id="{AD396BDC-0B7E-CD74-3B4D-5349B46AB8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1956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8" name="Freeform 60">
                      <a:extLst>
                        <a:ext uri="{FF2B5EF4-FFF2-40B4-BE49-F238E27FC236}">
                          <a16:creationId xmlns:a16="http://schemas.microsoft.com/office/drawing/2014/main" id="{947C30BE-631B-2421-A449-CDBB0B3060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49342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09" name="TextBox 64">
                      <a:extLst>
                        <a:ext uri="{FF2B5EF4-FFF2-40B4-BE49-F238E27FC236}">
                          <a16:creationId xmlns:a16="http://schemas.microsoft.com/office/drawing/2014/main" id="{A654D44C-A6DC-5062-C628-0E6EF0D3F47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00705" y="4491108"/>
                      <a:ext cx="965831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Emily Rodriguez</a:t>
                      </a:r>
                    </a:p>
                  </p:txBody>
                </p:sp>
                <p:sp>
                  <p:nvSpPr>
                    <p:cNvPr id="110" name="TextBox 65">
                      <a:extLst>
                        <a:ext uri="{FF2B5EF4-FFF2-40B4-BE49-F238E27FC236}">
                          <a16:creationId xmlns:a16="http://schemas.microsoft.com/office/drawing/2014/main" id="{D75BFCEE-8A47-3EEE-5873-68D16847AFA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438489" y="4491108"/>
                      <a:ext cx="927011" cy="163635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Samantha Taylor</a:t>
                      </a:r>
                    </a:p>
                  </p:txBody>
                </p:sp>
              </p:grpSp>
            </p:grpSp>
            <p:grpSp>
              <p:nvGrpSpPr>
                <p:cNvPr id="114" name="Group 113">
                  <a:extLst>
                    <a:ext uri="{FF2B5EF4-FFF2-40B4-BE49-F238E27FC236}">
                      <a16:creationId xmlns:a16="http://schemas.microsoft.com/office/drawing/2014/main" id="{DB5CB2E4-3BCB-F24A-5989-E2183BDB8F34}"/>
                    </a:ext>
                  </a:extLst>
                </p:cNvPr>
                <p:cNvGrpSpPr/>
                <p:nvPr/>
              </p:nvGrpSpPr>
              <p:grpSpPr>
                <a:xfrm>
                  <a:off x="7098627" y="1503163"/>
                  <a:ext cx="2835692" cy="3412091"/>
                  <a:chOff x="750292" y="1503163"/>
                  <a:chExt cx="2835692" cy="3412091"/>
                </a:xfrm>
              </p:grpSpPr>
              <p:sp>
                <p:nvSpPr>
                  <p:cNvPr id="115" name="Rectangle 114">
                    <a:extLst>
                      <a:ext uri="{FF2B5EF4-FFF2-40B4-BE49-F238E27FC236}">
                        <a16:creationId xmlns:a16="http://schemas.microsoft.com/office/drawing/2014/main" id="{1060F38D-4048-C6AC-9BCB-8E0FB0E29F59}"/>
                      </a:ext>
                    </a:extLst>
                  </p:cNvPr>
                  <p:cNvSpPr/>
                  <p:nvPr/>
                </p:nvSpPr>
                <p:spPr>
                  <a:xfrm>
                    <a:off x="750292" y="1503163"/>
                    <a:ext cx="2835692" cy="3412091"/>
                  </a:xfrm>
                  <a:prstGeom prst="rect">
                    <a:avLst/>
                  </a:prstGeom>
                  <a:solidFill>
                    <a:srgbClr val="000000"/>
                  </a:solidFill>
                  <a:ln w="3175">
                    <a:solidFill>
                      <a:srgbClr val="EFB369"/>
                    </a:solidFill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dirty="0"/>
                  </a:p>
                </p:txBody>
              </p:sp>
              <p:sp>
                <p:nvSpPr>
                  <p:cNvPr id="116" name="AutoShape 20">
                    <a:extLst>
                      <a:ext uri="{FF2B5EF4-FFF2-40B4-BE49-F238E27FC236}">
                        <a16:creationId xmlns:a16="http://schemas.microsoft.com/office/drawing/2014/main" id="{48C933B0-FBD5-3AAD-7F8E-4E701B1A41F6}"/>
                      </a:ext>
                    </a:extLst>
                  </p:cNvPr>
                  <p:cNvSpPr/>
                  <p:nvPr/>
                </p:nvSpPr>
                <p:spPr>
                  <a:xfrm>
                    <a:off x="750292" y="1963821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FFB157">
                        <a:alpha val="49804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7" name="AutoShape 22">
                    <a:extLst>
                      <a:ext uri="{FF2B5EF4-FFF2-40B4-BE49-F238E27FC236}">
                        <a16:creationId xmlns:a16="http://schemas.microsoft.com/office/drawing/2014/main" id="{174C125C-2750-594D-41E5-84E0FA30C275}"/>
                      </a:ext>
                    </a:extLst>
                  </p:cNvPr>
                  <p:cNvSpPr/>
                  <p:nvPr/>
                </p:nvSpPr>
                <p:spPr>
                  <a:xfrm>
                    <a:off x="750292" y="3963814"/>
                    <a:ext cx="2835692" cy="0"/>
                  </a:xfrm>
                  <a:prstGeom prst="line">
                    <a:avLst/>
                  </a:prstGeom>
                  <a:ln w="9525" cap="flat">
                    <a:solidFill>
                      <a:srgbClr val="EFB369"/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18" name="Freeform 24">
                    <a:extLst>
                      <a:ext uri="{FF2B5EF4-FFF2-40B4-BE49-F238E27FC236}">
                        <a16:creationId xmlns:a16="http://schemas.microsoft.com/office/drawing/2014/main" id="{874E5903-BDD7-5F4C-3B02-9BC58DC67642}"/>
                      </a:ext>
                    </a:extLst>
                  </p:cNvPr>
                  <p:cNvSpPr/>
                  <p:nvPr/>
                </p:nvSpPr>
                <p:spPr>
                  <a:xfrm>
                    <a:off x="1217266" y="2257558"/>
                    <a:ext cx="1901743" cy="130701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1743" h="1307016">
                        <a:moveTo>
                          <a:pt x="0" y="0"/>
                        </a:moveTo>
                        <a:lnTo>
                          <a:pt x="1901743" y="0"/>
                        </a:lnTo>
                        <a:lnTo>
                          <a:pt x="1901743" y="1307017"/>
                        </a:lnTo>
                        <a:lnTo>
                          <a:pt x="0" y="13070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7">
                      <a:extLst>
                        <a:ext uri="{96DAC541-7B7A-43D3-8B79-37D633B846F1}">
                          <asvg:svgBlip xmlns:asvg="http://schemas.microsoft.com/office/drawing/2016/SVG/main" r:embed="rId8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grpSp>
                <p:nvGrpSpPr>
                  <p:cNvPr id="119" name="Group 118">
                    <a:extLst>
                      <a:ext uri="{FF2B5EF4-FFF2-40B4-BE49-F238E27FC236}">
                        <a16:creationId xmlns:a16="http://schemas.microsoft.com/office/drawing/2014/main" id="{815FF27F-4026-5C58-4F96-EC708C464C20}"/>
                      </a:ext>
                    </a:extLst>
                  </p:cNvPr>
                  <p:cNvGrpSpPr/>
                  <p:nvPr/>
                </p:nvGrpSpPr>
                <p:grpSpPr>
                  <a:xfrm>
                    <a:off x="1238924" y="1637924"/>
                    <a:ext cx="1858428" cy="176138"/>
                    <a:chOff x="1244634" y="1639336"/>
                    <a:chExt cx="1858428" cy="176138"/>
                  </a:xfrm>
                </p:grpSpPr>
                <p:sp>
                  <p:nvSpPr>
                    <p:cNvPr id="129" name="Freeform 25">
                      <a:extLst>
                        <a:ext uri="{FF2B5EF4-FFF2-40B4-BE49-F238E27FC236}">
                          <a16:creationId xmlns:a16="http://schemas.microsoft.com/office/drawing/2014/main" id="{6A5D2C9A-3ABE-94C1-375D-2726666AF5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4634" y="1683209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0" name="Freeform 26">
                      <a:extLst>
                        <a:ext uri="{FF2B5EF4-FFF2-40B4-BE49-F238E27FC236}">
                          <a16:creationId xmlns:a16="http://schemas.microsoft.com/office/drawing/2014/main" id="{3ED8C0BF-03E6-CAD2-4855-B2875FBF1F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999673" y="1683209"/>
                      <a:ext cx="103389" cy="103389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103389" h="103389">
                          <a:moveTo>
                            <a:pt x="0" y="0"/>
                          </a:moveTo>
                          <a:lnTo>
                            <a:pt x="103389" y="0"/>
                          </a:lnTo>
                          <a:lnTo>
                            <a:pt x="103389" y="103389"/>
                          </a:lnTo>
                          <a:lnTo>
                            <a:pt x="0" y="10338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blipFill>
                      <a:blip r:embed="rId3">
                        <a:extLst>
                          <a:ext uri="{96DAC541-7B7A-43D3-8B79-37D633B846F1}">
                            <asvg:svgBlip xmlns:asvg="http://schemas.microsoft.com/office/drawing/2016/SVG/main" r:embed="rId4"/>
                          </a:ext>
                        </a:extLst>
                      </a:blip>
                      <a:stretch>
                        <a:fillRect/>
                      </a:stretch>
                    </a:blipFill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31" name="TextBox 27">
                      <a:extLst>
                        <a:ext uri="{FF2B5EF4-FFF2-40B4-BE49-F238E27FC236}">
                          <a16:creationId xmlns:a16="http://schemas.microsoft.com/office/drawing/2014/main" id="{4E796760-4DD9-1DA5-10C5-699F0F91C50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384757" y="1639336"/>
                      <a:ext cx="1578181" cy="176138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 algn="ctr">
                        <a:lnSpc>
                          <a:spcPts val="1540"/>
                        </a:lnSpc>
                        <a:spcBef>
                          <a:spcPct val="0"/>
                        </a:spcBef>
                      </a:pPr>
                      <a:r>
                        <a:rPr lang="en-US" sz="1100" dirty="0">
                          <a:solidFill>
                            <a:srgbClr val="EFB369"/>
                          </a:solidFill>
                          <a:latin typeface="Playfair Display"/>
                        </a:rPr>
                        <a:t>PROM THEME OPTIONS</a:t>
                      </a:r>
                    </a:p>
                  </p:txBody>
                </p:sp>
              </p:grpSp>
              <p:grpSp>
                <p:nvGrpSpPr>
                  <p:cNvPr id="120" name="Group 119">
                    <a:extLst>
                      <a:ext uri="{FF2B5EF4-FFF2-40B4-BE49-F238E27FC236}">
                        <a16:creationId xmlns:a16="http://schemas.microsoft.com/office/drawing/2014/main" id="{EC7CE38F-DA9C-350A-BCFA-89B6C117BB8E}"/>
                      </a:ext>
                    </a:extLst>
                  </p:cNvPr>
                  <p:cNvGrpSpPr/>
                  <p:nvPr/>
                </p:nvGrpSpPr>
                <p:grpSpPr>
                  <a:xfrm>
                    <a:off x="951366" y="4221028"/>
                    <a:ext cx="2433544" cy="437013"/>
                    <a:chOff x="931956" y="4217730"/>
                    <a:chExt cx="2433544" cy="437013"/>
                  </a:xfrm>
                </p:grpSpPr>
                <p:sp>
                  <p:nvSpPr>
                    <p:cNvPr id="121" name="Freeform 54">
                      <a:extLst>
                        <a:ext uri="{FF2B5EF4-FFF2-40B4-BE49-F238E27FC236}">
                          <a16:creationId xmlns:a16="http://schemas.microsoft.com/office/drawing/2014/main" id="{A39FE059-5C69-F7FD-325A-F8B3933D70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49342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2" name="Freeform 51">
                      <a:extLst>
                        <a:ext uri="{FF2B5EF4-FFF2-40B4-BE49-F238E27FC236}">
                          <a16:creationId xmlns:a16="http://schemas.microsoft.com/office/drawing/2014/main" id="{C31E8B2A-BA60-19FA-BB4A-7778C8F777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1956" y="4240683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3" name="TextBox 62">
                      <a:extLst>
                        <a:ext uri="{FF2B5EF4-FFF2-40B4-BE49-F238E27FC236}">
                          <a16:creationId xmlns:a16="http://schemas.microsoft.com/office/drawing/2014/main" id="{673D3786-06B0-C9AC-4C77-B4206FC8671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00705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Arabian Nights</a:t>
                      </a:r>
                    </a:p>
                  </p:txBody>
                </p:sp>
                <p:sp>
                  <p:nvSpPr>
                    <p:cNvPr id="124" name="TextBox 63">
                      <a:extLst>
                        <a:ext uri="{FF2B5EF4-FFF2-40B4-BE49-F238E27FC236}">
                          <a16:creationId xmlns:a16="http://schemas.microsoft.com/office/drawing/2014/main" id="{9170B0B6-FD63-8EC7-B36A-A2CCB52A350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438489" y="4217730"/>
                      <a:ext cx="850325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Neon Nights</a:t>
                      </a:r>
                    </a:p>
                  </p:txBody>
                </p:sp>
                <p:sp>
                  <p:nvSpPr>
                    <p:cNvPr id="125" name="Freeform 57">
                      <a:extLst>
                        <a:ext uri="{FF2B5EF4-FFF2-40B4-BE49-F238E27FC236}">
                          <a16:creationId xmlns:a16="http://schemas.microsoft.com/office/drawing/2014/main" id="{450ACDAF-8FCA-8CEC-C214-636E56D57E6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31956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6" name="Freeform 60">
                      <a:extLst>
                        <a:ext uri="{FF2B5EF4-FFF2-40B4-BE49-F238E27FC236}">
                          <a16:creationId xmlns:a16="http://schemas.microsoft.com/office/drawing/2014/main" id="{D4E9E59E-FDD2-962C-9B4E-1D341CAC5B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2249342" y="4514061"/>
                      <a:ext cx="127253" cy="127253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12800" h="812800">
                          <a:moveTo>
                            <a:pt x="406400" y="0"/>
                          </a:moveTo>
                          <a:cubicBezTo>
                            <a:pt x="181951" y="0"/>
                            <a:pt x="0" y="181951"/>
                            <a:pt x="0" y="406400"/>
                          </a:cubicBezTo>
                          <a:cubicBezTo>
                            <a:pt x="0" y="630849"/>
                            <a:pt x="181951" y="812800"/>
                            <a:pt x="406400" y="812800"/>
                          </a:cubicBezTo>
                          <a:cubicBezTo>
                            <a:pt x="630849" y="812800"/>
                            <a:pt x="812800" y="630849"/>
                            <a:pt x="812800" y="406400"/>
                          </a:cubicBezTo>
                          <a:cubicBezTo>
                            <a:pt x="812800" y="181951"/>
                            <a:pt x="630849" y="0"/>
                            <a:pt x="406400" y="0"/>
                          </a:cubicBez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 cap="sq">
                      <a:solidFill>
                        <a:srgbClr val="EFB369"/>
                      </a:solidFill>
                      <a:prstDash val="solid"/>
                      <a:miter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127" name="TextBox 64">
                      <a:extLst>
                        <a:ext uri="{FF2B5EF4-FFF2-40B4-BE49-F238E27FC236}">
                          <a16:creationId xmlns:a16="http://schemas.microsoft.com/office/drawing/2014/main" id="{43326B3A-FE58-FAA8-C307-3FBB73572DC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00705" y="4491108"/>
                      <a:ext cx="965831" cy="163635"/>
                    </a:xfrm>
                    <a:prstGeom prst="rect">
                      <a:avLst/>
                    </a:prstGeom>
                  </p:spPr>
                  <p:txBody>
                    <a:bodyPr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Under the Stars</a:t>
                      </a:r>
                    </a:p>
                  </p:txBody>
                </p:sp>
                <p:sp>
                  <p:nvSpPr>
                    <p:cNvPr id="128" name="TextBox 65">
                      <a:extLst>
                        <a:ext uri="{FF2B5EF4-FFF2-40B4-BE49-F238E27FC236}">
                          <a16:creationId xmlns:a16="http://schemas.microsoft.com/office/drawing/2014/main" id="{F4C3F3A4-3EA0-AF2E-07CB-EA23CB3B2640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438489" y="4491108"/>
                      <a:ext cx="927011" cy="163635"/>
                    </a:xfrm>
                    <a:prstGeom prst="rect">
                      <a:avLst/>
                    </a:prstGeom>
                  </p:spPr>
                  <p:txBody>
                    <a:bodyPr wrap="square" lIns="0" tIns="0" rIns="0" bIns="0" rtlCol="0" anchor="t">
                      <a:spAutoFit/>
                    </a:bodyPr>
                    <a:lstStyle/>
                    <a:p>
                      <a:pPr>
                        <a:lnSpc>
                          <a:spcPts val="1392"/>
                        </a:lnSpc>
                      </a:pPr>
                      <a:r>
                        <a:rPr lang="en-US" sz="950" dirty="0">
                          <a:solidFill>
                            <a:srgbClr val="EFB369"/>
                          </a:solidFill>
                          <a:latin typeface="Playfair Display"/>
                        </a:rPr>
                        <a:t>Masquerade Ball</a:t>
                      </a:r>
                    </a:p>
                  </p:txBody>
                </p:sp>
              </p:grpSp>
            </p:grpSp>
          </p:grpSp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7D80D7EE-E48A-7CDF-7A85-7CB6D681F8CE}"/>
                  </a:ext>
                </a:extLst>
              </p:cNvPr>
              <p:cNvGrpSpPr/>
              <p:nvPr/>
            </p:nvGrpSpPr>
            <p:grpSpPr>
              <a:xfrm>
                <a:off x="765610" y="468028"/>
                <a:ext cx="9170970" cy="471805"/>
                <a:chOff x="761215" y="468028"/>
                <a:chExt cx="9170970" cy="471805"/>
              </a:xfrm>
            </p:grpSpPr>
            <p:sp>
              <p:nvSpPr>
                <p:cNvPr id="99" name="TextBox 99"/>
                <p:cNvSpPr txBox="1"/>
                <p:nvPr/>
              </p:nvSpPr>
              <p:spPr>
                <a:xfrm>
                  <a:off x="4115537" y="468028"/>
                  <a:ext cx="2469414" cy="471805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3920"/>
                    </a:lnSpc>
                    <a:spcBef>
                      <a:spcPct val="0"/>
                    </a:spcBef>
                  </a:pPr>
                  <a:r>
                    <a:rPr lang="en-US" sz="2800" i="1" dirty="0">
                      <a:solidFill>
                        <a:srgbClr val="EFB369"/>
                      </a:solidFill>
                      <a:latin typeface="Playfair Display" pitchFamily="2" charset="0"/>
                    </a:rPr>
                    <a:t>PROM</a:t>
                  </a:r>
                  <a:r>
                    <a:rPr lang="en-US" sz="2800" dirty="0">
                      <a:solidFill>
                        <a:srgbClr val="EFB369"/>
                      </a:solidFill>
                      <a:latin typeface="Playfair Display"/>
                    </a:rPr>
                    <a:t> BALLOT </a:t>
                  </a:r>
                </a:p>
              </p:txBody>
            </p:sp>
            <p:sp>
              <p:nvSpPr>
                <p:cNvPr id="56" name="AutoShape 97">
                  <a:extLst>
                    <a:ext uri="{FF2B5EF4-FFF2-40B4-BE49-F238E27FC236}">
                      <a16:creationId xmlns:a16="http://schemas.microsoft.com/office/drawing/2014/main" id="{CBAA2216-4C74-CFCD-1BB5-B822AA8A706A}"/>
                    </a:ext>
                  </a:extLst>
                </p:cNvPr>
                <p:cNvSpPr/>
                <p:nvPr/>
              </p:nvSpPr>
              <p:spPr>
                <a:xfrm>
                  <a:off x="6814649" y="760762"/>
                  <a:ext cx="3117536" cy="0"/>
                </a:xfrm>
                <a:prstGeom prst="line">
                  <a:avLst/>
                </a:prstGeom>
                <a:ln w="9525" cap="flat">
                  <a:solidFill>
                    <a:srgbClr val="FFB157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9" name="AutoShape 97">
                  <a:extLst>
                    <a:ext uri="{FF2B5EF4-FFF2-40B4-BE49-F238E27FC236}">
                      <a16:creationId xmlns:a16="http://schemas.microsoft.com/office/drawing/2014/main" id="{516B0D78-E9BA-08CD-B754-1E7FAC102C04}"/>
                    </a:ext>
                  </a:extLst>
                </p:cNvPr>
                <p:cNvSpPr/>
                <p:nvPr/>
              </p:nvSpPr>
              <p:spPr>
                <a:xfrm>
                  <a:off x="761215" y="760762"/>
                  <a:ext cx="3117536" cy="0"/>
                </a:xfrm>
                <a:prstGeom prst="line">
                  <a:avLst/>
                </a:prstGeom>
                <a:ln w="9525" cap="flat">
                  <a:solidFill>
                    <a:srgbClr val="FFB157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</p:grpSp>
        <p:grpSp>
          <p:nvGrpSpPr>
            <p:cNvPr id="103" name="Group 102">
              <a:extLst>
                <a:ext uri="{FF2B5EF4-FFF2-40B4-BE49-F238E27FC236}">
                  <a16:creationId xmlns:a16="http://schemas.microsoft.com/office/drawing/2014/main" id="{285574B7-FF43-3D41-96EE-9EA0E593734C}"/>
                </a:ext>
              </a:extLst>
            </p:cNvPr>
            <p:cNvGrpSpPr/>
            <p:nvPr/>
          </p:nvGrpSpPr>
          <p:grpSpPr>
            <a:xfrm>
              <a:off x="-1761368" y="-1805818"/>
              <a:ext cx="14216136" cy="11168136"/>
              <a:chOff x="-1761368" y="-1805818"/>
              <a:chExt cx="14216136" cy="11168136"/>
            </a:xfrm>
          </p:grpSpPr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7DC5F9B8-12C1-5185-258C-E51EA0B2190E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-1761368" y="-1805818"/>
                <a:ext cx="3983868" cy="3983868"/>
              </a:xfrm>
              <a:prstGeom prst="ellipse">
                <a:avLst/>
              </a:prstGeom>
              <a:gradFill flip="none" rotWithShape="1">
                <a:gsLst>
                  <a:gs pos="0">
                    <a:srgbClr val="EFB369"/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961082F0-BF52-8E4E-BE96-F42C2195531B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470900" y="5378450"/>
                <a:ext cx="3983868" cy="3983868"/>
              </a:xfrm>
              <a:prstGeom prst="ellipse">
                <a:avLst/>
              </a:prstGeom>
              <a:gradFill flip="none" rotWithShape="1">
                <a:gsLst>
                  <a:gs pos="0">
                    <a:srgbClr val="EFB369"/>
                  </a:gs>
                  <a:gs pos="100000">
                    <a:srgbClr val="000000">
                      <a:alpha val="0"/>
                    </a:srgbClr>
                  </a:gs>
                </a:gsLst>
                <a:path path="shape">
                  <a:fillToRect l="50000" t="50000" r="50000" b="50000"/>
                </a:path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00" name="TemplateLAB"/>
            <p:cNvSpPr/>
            <p:nvPr/>
          </p:nvSpPr>
          <p:spPr>
            <a:xfrm>
              <a:off x="4942961" y="7040323"/>
              <a:ext cx="703110" cy="116013"/>
            </a:xfrm>
            <a:custGeom>
              <a:avLst/>
              <a:gdLst/>
              <a:ahLst/>
              <a:cxnLst/>
              <a:rect l="l" t="t" r="r" b="b"/>
              <a:pathLst>
                <a:path w="703110" h="116013">
                  <a:moveTo>
                    <a:pt x="0" y="0"/>
                  </a:moveTo>
                  <a:lnTo>
                    <a:pt x="703110" y="0"/>
                  </a:lnTo>
                  <a:lnTo>
                    <a:pt x="703110" y="116013"/>
                  </a:lnTo>
                  <a:lnTo>
                    <a:pt x="0" y="116013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alphaModFix amt="90000"/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03197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</TotalTime>
  <Words>77</Words>
  <Application>Microsoft Office PowerPoint</Application>
  <PresentationFormat>Custom</PresentationFormat>
  <Paragraphs>19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libri</vt:lpstr>
      <vt:lpstr>Playfair Display</vt:lpstr>
      <vt:lpstr>Open Sauce Sans Medium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Ballot template (Landscape)</dc:title>
  <dc:creator>Hoang Anh</dc:creator>
  <cp:lastModifiedBy>Hoang Anh</cp:lastModifiedBy>
  <cp:revision>17</cp:revision>
  <dcterms:created xsi:type="dcterms:W3CDTF">2006-08-16T00:00:00Z</dcterms:created>
  <dcterms:modified xsi:type="dcterms:W3CDTF">2024-03-16T07:19:04Z</dcterms:modified>
  <dc:identifier>DAF_jBrQBnU</dc:identifier>
</cp:coreProperties>
</file>